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2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4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5.xml" ContentType="application/vnd.openxmlformats-officedocument.theme+xml"/>
  <Override PartName="/ppt/tags/tag12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6.xml" ContentType="application/vnd.openxmlformats-officedocument.theme+xml"/>
  <Override PartName="/ppt/tags/tag13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8.xml" ContentType="application/vnd.openxmlformats-officedocument.theme+xml"/>
  <Override PartName="/ppt/tags/tag16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9.xml" ContentType="application/vnd.openxmlformats-officedocument.theme+xml"/>
  <Override PartName="/ppt/tags/tag17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20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1.xml" ContentType="application/vnd.openxmlformats-officedocument.theme+xml"/>
  <Override PartName="/ppt/tags/tag18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22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3.xml" ContentType="application/vnd.openxmlformats-officedocument.theme+xml"/>
  <Override PartName="/ppt/tags/tag19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24.xml" ContentType="application/vnd.openxmlformats-officedocument.theme+xml"/>
  <Override PartName="/ppt/tags/tag20.xml" ContentType="application/vnd.openxmlformats-officedocument.presentationml.tags+xml"/>
  <Override PartName="/ppt/theme/theme2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77" r:id="rId3"/>
    <p:sldMasterId id="2147483685" r:id="rId4"/>
    <p:sldMasterId id="2147483691" r:id="rId5"/>
    <p:sldMasterId id="2147483700" r:id="rId6"/>
    <p:sldMasterId id="2147483706" r:id="rId7"/>
    <p:sldMasterId id="2147483712" r:id="rId8"/>
    <p:sldMasterId id="2147483724" r:id="rId9"/>
    <p:sldMasterId id="2147483734" r:id="rId10"/>
    <p:sldMasterId id="2147483741" r:id="rId11"/>
    <p:sldMasterId id="2147483749" r:id="rId12"/>
    <p:sldMasterId id="2147483755" r:id="rId13"/>
    <p:sldMasterId id="2147483764" r:id="rId14"/>
    <p:sldMasterId id="2147483770" r:id="rId15"/>
    <p:sldMasterId id="2147483776" r:id="rId16"/>
    <p:sldMasterId id="2147483789" r:id="rId17"/>
    <p:sldMasterId id="2147483799" r:id="rId18"/>
    <p:sldMasterId id="2147483806" r:id="rId19"/>
    <p:sldMasterId id="2147483814" r:id="rId20"/>
    <p:sldMasterId id="2147483820" r:id="rId21"/>
    <p:sldMasterId id="2147483829" r:id="rId22"/>
    <p:sldMasterId id="2147483835" r:id="rId23"/>
    <p:sldMasterId id="2147483841" r:id="rId24"/>
  </p:sldMasterIdLst>
  <p:notesMasterIdLst>
    <p:notesMasterId r:id="rId32"/>
  </p:notesMasterIdLst>
  <p:sldIdLst>
    <p:sldId id="256" r:id="rId25"/>
    <p:sldId id="283" r:id="rId26"/>
    <p:sldId id="284" r:id="rId27"/>
    <p:sldId id="285" r:id="rId28"/>
    <p:sldId id="286" r:id="rId29"/>
    <p:sldId id="287" r:id="rId30"/>
    <p:sldId id="281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o, Jarvan (Nokia - CN/Chengdu)" initials="GJ(-C" lastIdx="1" clrIdx="0">
    <p:extLst>
      <p:ext uri="{19B8F6BF-5375-455C-9EA6-DF929625EA0E}">
        <p15:presenceInfo xmlns:p15="http://schemas.microsoft.com/office/powerpoint/2012/main" userId="S-1-5-21-1593251271-2640304127-1825641215-19110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81" autoAdjust="0"/>
    <p:restoredTop sz="84350" autoAdjust="0"/>
  </p:normalViewPr>
  <p:slideViewPr>
    <p:cSldViewPr snapToGrid="0">
      <p:cViewPr varScale="1">
        <p:scale>
          <a:sx n="75" d="100"/>
          <a:sy n="75" d="100"/>
        </p:scale>
        <p:origin x="348" y="-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1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4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8157C1-9755-4794-AA7C-70DA8E1583BB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0E51E-96AF-460F-9746-DB2A3697D4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033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orks as client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BC</a:t>
            </a:r>
            <a:r>
              <a:rPr lang="en-US" sz="1200" dirty="0" smtClean="0"/>
              <a:t> depends on </a:t>
            </a:r>
            <a:r>
              <a:rPr lang="en-US" sz="1200" dirty="0" err="1" smtClean="0"/>
              <a:t>JacORB</a:t>
            </a:r>
            <a:r>
              <a:rPr lang="en-US" sz="1200" dirty="0" smtClean="0"/>
              <a:t> library to offer </a:t>
            </a:r>
            <a:r>
              <a:rPr lang="en-US" sz="1200" dirty="0" err="1" smtClean="0"/>
              <a:t>Corba</a:t>
            </a:r>
            <a:r>
              <a:rPr lang="en-US" sz="1200" dirty="0" smtClean="0"/>
              <a:t> communication.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eaLnBrk="1" hangingPunct="1"/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s clien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may directly send notifications directly to NMS. The notifications includ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larmListRebuil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HeartBea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, </a:t>
            </a:r>
            <a:r>
              <a:rPr lang="en-GB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CMSynchronizationRecommended</a:t>
            </a: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attaches to NBI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send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larmListRebuil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to attached NMS only.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doesn’t expect to send it to all NMS.</a:t>
            </a:r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attaches to NBI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send </a:t>
            </a:r>
            <a:r>
              <a:rPr lang="en-GB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CMSynchronizationRecommended</a:t>
            </a: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to attached NMS only.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doesn’t expect to send it to all NMS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triggers heartbea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only send heartbeat to the NMS who triggers it.</a:t>
            </a:r>
            <a:endParaRPr lang="en-GB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s clien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NBI may send notifications to Notification Service. </a:t>
            </a:r>
            <a:endParaRPr lang="en-US" sz="1200" b="1" baseline="0" dirty="0" smtClean="0"/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b="1" baseline="0" dirty="0" smtClean="0"/>
          </a:p>
          <a:p>
            <a:pPr eaLnBrk="1" hangingPunct="1"/>
            <a:endParaRPr lang="en-US" sz="1200" b="1" dirty="0" smtClean="0"/>
          </a:p>
        </p:txBody>
      </p:sp>
    </p:spTree>
    <p:extLst>
      <p:ext uri="{BB962C8B-B14F-4D97-AF65-F5344CB8AC3E}">
        <p14:creationId xmlns:p14="http://schemas.microsoft.com/office/powerpoint/2010/main" val="212049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orks as client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BC</a:t>
            </a:r>
            <a:r>
              <a:rPr lang="en-US" sz="1200" dirty="0" smtClean="0"/>
              <a:t> depends on </a:t>
            </a:r>
            <a:r>
              <a:rPr lang="en-US" sz="1200" dirty="0" err="1" smtClean="0"/>
              <a:t>JacORB</a:t>
            </a:r>
            <a:r>
              <a:rPr lang="en-US" sz="1200" dirty="0" smtClean="0"/>
              <a:t> library to offer </a:t>
            </a:r>
            <a:r>
              <a:rPr lang="en-US" sz="1200" dirty="0" err="1" smtClean="0"/>
              <a:t>Corba</a:t>
            </a:r>
            <a:r>
              <a:rPr lang="en-US" sz="1200" dirty="0" smtClean="0"/>
              <a:t> communication.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eaLnBrk="1" hangingPunct="1"/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s clien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may directly send notifications directly to NMS. The notifications includ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larmListRebuil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HeartBea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, </a:t>
            </a:r>
            <a:r>
              <a:rPr lang="en-GB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CMSynchronizationRecommended</a:t>
            </a: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attaches to NBI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send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larmListRebuil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to attached NMS only.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doesn’t expect to send it to all NMS.</a:t>
            </a:r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attaches to NBI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send </a:t>
            </a:r>
            <a:r>
              <a:rPr lang="en-GB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CMSynchronizationRecommended</a:t>
            </a: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to attached NMS only.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doesn’t expect to send it to all NMS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triggers heartbea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only send heartbeat to the NMS who triggers it.</a:t>
            </a:r>
            <a:endParaRPr lang="en-GB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s clien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NBI may send notifications to Notification Service. </a:t>
            </a:r>
            <a:endParaRPr lang="en-US" sz="1200" b="1" baseline="0" dirty="0" smtClean="0"/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b="1" baseline="0" dirty="0" smtClean="0"/>
          </a:p>
          <a:p>
            <a:pPr eaLnBrk="1" hangingPunct="1"/>
            <a:endParaRPr lang="en-US" sz="1200" b="1" dirty="0" smtClean="0"/>
          </a:p>
        </p:txBody>
      </p:sp>
    </p:spTree>
    <p:extLst>
      <p:ext uri="{BB962C8B-B14F-4D97-AF65-F5344CB8AC3E}">
        <p14:creationId xmlns:p14="http://schemas.microsoft.com/office/powerpoint/2010/main" val="8618611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orks as client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BC</a:t>
            </a:r>
            <a:r>
              <a:rPr lang="en-US" sz="1200" dirty="0" smtClean="0"/>
              <a:t> depends on </a:t>
            </a:r>
            <a:r>
              <a:rPr lang="en-US" sz="1200" dirty="0" err="1" smtClean="0"/>
              <a:t>JacORB</a:t>
            </a:r>
            <a:r>
              <a:rPr lang="en-US" sz="1200" dirty="0" smtClean="0"/>
              <a:t> library to offer </a:t>
            </a:r>
            <a:r>
              <a:rPr lang="en-US" sz="1200" dirty="0" err="1" smtClean="0"/>
              <a:t>Corba</a:t>
            </a:r>
            <a:r>
              <a:rPr lang="en-US" sz="1200" dirty="0" smtClean="0"/>
              <a:t> communication.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eaLnBrk="1" hangingPunct="1"/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s clien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may directly send notifications directly to NMS. The notifications includ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larmListRebuil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HeartBea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, </a:t>
            </a:r>
            <a:r>
              <a:rPr lang="en-GB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CMSynchronizationRecommended</a:t>
            </a: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attaches to NBI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send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larmListRebuil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to attached NMS only.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doesn’t expect to send it to all NMS.</a:t>
            </a:r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attaches to NBI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send </a:t>
            </a:r>
            <a:r>
              <a:rPr lang="en-GB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CMSynchronizationRecommended</a:t>
            </a: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to attached NMS only.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doesn’t expect to send it to all NMS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triggers heartbea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only send heartbeat to the NMS who triggers it.</a:t>
            </a:r>
            <a:endParaRPr lang="en-GB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s clien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NBI may send notifications to Notification Service. </a:t>
            </a:r>
            <a:endParaRPr lang="en-US" sz="1200" b="1" baseline="0" dirty="0" smtClean="0"/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b="1" baseline="0" dirty="0" smtClean="0"/>
          </a:p>
          <a:p>
            <a:pPr eaLnBrk="1" hangingPunct="1"/>
            <a:endParaRPr lang="en-US" sz="1200" b="1" dirty="0" smtClean="0"/>
          </a:p>
        </p:txBody>
      </p:sp>
    </p:spTree>
    <p:extLst>
      <p:ext uri="{BB962C8B-B14F-4D97-AF65-F5344CB8AC3E}">
        <p14:creationId xmlns:p14="http://schemas.microsoft.com/office/powerpoint/2010/main" val="20366665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orks as client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BC</a:t>
            </a:r>
            <a:r>
              <a:rPr lang="en-US" sz="1200" dirty="0" smtClean="0"/>
              <a:t> depends on </a:t>
            </a:r>
            <a:r>
              <a:rPr lang="en-US" sz="1200" dirty="0" err="1" smtClean="0"/>
              <a:t>JacORB</a:t>
            </a:r>
            <a:r>
              <a:rPr lang="en-US" sz="1200" dirty="0" smtClean="0"/>
              <a:t> library to offer </a:t>
            </a:r>
            <a:r>
              <a:rPr lang="en-US" sz="1200" dirty="0" err="1" smtClean="0"/>
              <a:t>Corba</a:t>
            </a:r>
            <a:r>
              <a:rPr lang="en-US" sz="1200" dirty="0" smtClean="0"/>
              <a:t> communication.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eaLnBrk="1" hangingPunct="1"/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s clien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may directly send notifications directly to NMS. The notifications includ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larmListRebuil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HeartBea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, </a:t>
            </a:r>
            <a:r>
              <a:rPr lang="en-GB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CMSynchronizationRecommended</a:t>
            </a: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attaches to NBI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send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larmListRebuil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to attached NMS only.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doesn’t expect to send it to all NMS.</a:t>
            </a:r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attaches to NBI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send </a:t>
            </a:r>
            <a:r>
              <a:rPr lang="en-GB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CMSynchronizationRecommended</a:t>
            </a: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to attached NMS only.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doesn’t expect to send it to all NMS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triggers heartbea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only send heartbeat to the NMS who triggers it.</a:t>
            </a:r>
            <a:endParaRPr lang="en-GB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s clien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NBI may send notifications to Notification Service. </a:t>
            </a:r>
            <a:endParaRPr lang="en-US" sz="1200" b="1" baseline="0" dirty="0" smtClean="0"/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b="1" baseline="0" dirty="0" smtClean="0"/>
          </a:p>
          <a:p>
            <a:pPr eaLnBrk="1" hangingPunct="1"/>
            <a:endParaRPr lang="en-US" sz="1200" b="1" dirty="0" smtClean="0"/>
          </a:p>
        </p:txBody>
      </p:sp>
    </p:spTree>
    <p:extLst>
      <p:ext uri="{BB962C8B-B14F-4D97-AF65-F5344CB8AC3E}">
        <p14:creationId xmlns:p14="http://schemas.microsoft.com/office/powerpoint/2010/main" val="24648371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709613"/>
            <a:ext cx="6021387" cy="3387725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6056" y="4357229"/>
            <a:ext cx="4844272" cy="4416069"/>
          </a:xfrm>
          <a:noFill/>
          <a:ln w="9525"/>
        </p:spPr>
        <p:txBody>
          <a:bodyPr/>
          <a:lstStyle/>
          <a:p>
            <a:pPr eaLnBrk="1" hangingPunct="1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orks as client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BC</a:t>
            </a:r>
            <a:r>
              <a:rPr lang="en-US" sz="1200" dirty="0" smtClean="0"/>
              <a:t> depends on </a:t>
            </a:r>
            <a:r>
              <a:rPr lang="en-US" sz="1200" dirty="0" err="1" smtClean="0"/>
              <a:t>JacORB</a:t>
            </a:r>
            <a:r>
              <a:rPr lang="en-US" sz="1200" dirty="0" smtClean="0"/>
              <a:t> library to offer </a:t>
            </a:r>
            <a:r>
              <a:rPr lang="en-US" sz="1200" dirty="0" err="1" smtClean="0"/>
              <a:t>Corba</a:t>
            </a:r>
            <a:r>
              <a:rPr lang="en-US" sz="1200" dirty="0" smtClean="0"/>
              <a:t> communication.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eaLnBrk="1" hangingPunct="1"/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s clien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may directly send notifications directly to NMS. The notifications includ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larmListRebuil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HeartBea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, </a:t>
            </a:r>
            <a:r>
              <a:rPr lang="en-GB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CMSynchronizationRecommended</a:t>
            </a: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attaches to NBI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send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larmListRebuil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to attached NMS only.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doesn’t expect to send it to all NMS.</a:t>
            </a:r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attaches to NBI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send </a:t>
            </a:r>
            <a:r>
              <a:rPr lang="en-GB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notifyCMSynchronizationRecommended</a:t>
            </a: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to attached NMS only.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doesn’t expect to send it to all NMS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When NMS triggers heartbea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FM NBI will only send heartbeat to the NMS who triggers it.</a:t>
            </a:r>
            <a:endParaRPr lang="en-GB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latin typeface="+mn-lt"/>
              <a:ea typeface="ヒラギノ角ゴ Pro W3" charset="0"/>
              <a:cs typeface="ヒラギノ角ゴ Pro W3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As client, 3GPP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Corb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rPr>
              <a:t> NBI may send notifications to Notification Service. </a:t>
            </a:r>
            <a:endParaRPr lang="en-US" sz="1200" b="1" baseline="0" dirty="0" smtClean="0"/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b="1" baseline="0" dirty="0" smtClean="0"/>
          </a:p>
          <a:p>
            <a:pPr eaLnBrk="1" hangingPunct="1"/>
            <a:endParaRPr lang="en-US" sz="1200" b="1" dirty="0" smtClean="0"/>
          </a:p>
        </p:txBody>
      </p:sp>
    </p:spTree>
    <p:extLst>
      <p:ext uri="{BB962C8B-B14F-4D97-AF65-F5344CB8AC3E}">
        <p14:creationId xmlns:p14="http://schemas.microsoft.com/office/powerpoint/2010/main" val="3131277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8980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825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4869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58547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64048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258496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6305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56972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3675975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417125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515647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FF0000"/>
                </a:solidFill>
                <a:cs typeface="Arial"/>
              </a:rPr>
              <a:t>SECRET</a:t>
            </a:r>
            <a:endParaRPr lang="en-US" sz="800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  <a:endParaRPr lang="en-US" sz="8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06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8353537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49999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61599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673224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18789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35526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4029040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352944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3336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927205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FF0000"/>
                </a:solidFill>
                <a:cs typeface="Arial"/>
              </a:rPr>
              <a:t>SECRET</a:t>
            </a:r>
            <a:endParaRPr lang="en-US" sz="800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  <a:endParaRPr lang="en-US" sz="8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81641380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FF0000"/>
                </a:solidFill>
                <a:cs typeface="Arial"/>
              </a:rPr>
              <a:t>SECRET</a:t>
            </a:r>
            <a:endParaRPr lang="en-US" sz="800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  <a:endParaRPr lang="en-US" sz="8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611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20081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614307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1400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1587206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30688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240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662671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458846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4487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430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07028961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2739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963192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642398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954918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400789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2097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38134390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2/2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46503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9860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185360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187711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627749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705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227349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9801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081570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5294473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3980749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684968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FF0000"/>
                </a:solidFill>
                <a:cs typeface="Arial"/>
              </a:rPr>
              <a:t>SECRET</a:t>
            </a:r>
            <a:endParaRPr lang="en-US" sz="800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  <a:endParaRPr lang="en-US" sz="8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0453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584788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97439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694417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494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27556550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83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2703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8268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4231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8875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1447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8023137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250936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811815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8864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006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51371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1218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6006899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998087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057172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67410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FF0000"/>
                </a:solidFill>
                <a:cs typeface="Arial"/>
              </a:rPr>
              <a:t>SECRET</a:t>
            </a:r>
            <a:endParaRPr lang="en-US" sz="800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  <a:endParaRPr lang="en-US" sz="8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3373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14095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67315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5696743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0478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002998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1615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2399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0658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9624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6201699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2/2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2416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54951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77494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89656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40358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02708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490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8380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222930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612376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322571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073027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474800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FF0000"/>
                </a:solidFill>
                <a:cs typeface="Arial"/>
              </a:rPr>
              <a:t>SECRET</a:t>
            </a:r>
            <a:endParaRPr lang="en-US" sz="800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  <a:endParaRPr lang="en-US" sz="8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0422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12118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0359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9455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7480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4298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11283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721142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919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3131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5322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475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635570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8003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0679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9414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7701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188214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617656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FF0000"/>
                </a:solidFill>
                <a:cs typeface="Arial"/>
              </a:rPr>
              <a:t>SECRET</a:t>
            </a:r>
            <a:endParaRPr lang="en-US" sz="800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  <a:endParaRPr lang="en-US" sz="8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0356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652410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48926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68" y="236914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FF0000"/>
                </a:solidFill>
                <a:cs typeface="Arial"/>
              </a:rPr>
              <a:t>SECRET</a:t>
            </a:r>
            <a:endParaRPr lang="en-US" sz="800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  <a:endParaRPr lang="en-US" sz="8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4995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511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5826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18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3776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52600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8495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8659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010249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772667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0379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27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99074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16681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FF0000"/>
                </a:solidFill>
                <a:cs typeface="Arial"/>
              </a:rPr>
              <a:t>SECRET</a:t>
            </a:r>
            <a:endParaRPr lang="en-US" sz="800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  <a:endParaRPr lang="en-US" sz="8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graphicFrame>
        <p:nvGraphicFramePr>
          <p:cNvPr id="8" name="Object 7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4566173"/>
              </p:ext>
            </p:extLst>
          </p:nvPr>
        </p:nvGraphicFramePr>
        <p:xfrm>
          <a:off x="1699" y="1722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5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9" y="1722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22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 userDrawn="1"/>
        </p:nvSpPr>
        <p:spPr>
          <a:xfrm>
            <a:off x="1671200" y="6276556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FF0000"/>
                </a:solidFill>
                <a:cs typeface="Arial"/>
              </a:rPr>
              <a:t>SECRET</a:t>
            </a:r>
            <a:endParaRPr lang="en-US" sz="800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096000" y="6284746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  <a:endParaRPr lang="en-US" sz="8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6284746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636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5699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8092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780759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1183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649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596963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30720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4980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0551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20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898294038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6684" y="715199"/>
            <a:ext cx="10972800" cy="4032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9633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3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675913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8" y="717056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7317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48526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SN 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 tIns="0" bIns="0"/>
          <a:lstStyle>
            <a:lvl1pPr marL="0" indent="0">
              <a:buFont typeface="Arial"/>
              <a:buNone/>
              <a:defRPr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681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329" y="225137"/>
            <a:ext cx="11511681" cy="826589"/>
          </a:xfrm>
          <a:prstGeom prst="rect">
            <a:avLst/>
          </a:prstGeom>
        </p:spPr>
        <p:txBody>
          <a:bodyPr lIns="91420" tIns="45711" rIns="91420" bIns="45711"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320" y="1196204"/>
            <a:ext cx="11518400" cy="4897373"/>
          </a:xfrm>
          <a:prstGeom prst="rect">
            <a:avLst/>
          </a:prstGeom>
        </p:spPr>
        <p:txBody>
          <a:bodyPr lIns="91420" tIns="45711" rIns="91420" bIns="45711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7900902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3EF6F5D-F90A-471E-947D-0B01EF2AC13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2/20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933662B-E8C1-4D75-A361-7CCD71A1B44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6320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50602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977932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3787237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905928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5892187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452104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60114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6800" y="240000"/>
            <a:ext cx="10992000" cy="30048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56800" y="2956900"/>
            <a:ext cx="10992000" cy="27072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81079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6800" y="384000"/>
            <a:ext cx="10992000" cy="30048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2713439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10851" y="6229351"/>
            <a:ext cx="937683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923842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44534" y="3240619"/>
            <a:ext cx="2302933" cy="376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0089330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311549"/>
              </p:ext>
            </p:extLst>
          </p:nvPr>
        </p:nvGraphicFramePr>
        <p:xfrm>
          <a:off x="1683" y="1714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3" y="1714"/>
                        <a:ext cx="1679" cy="167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9354" y="236906"/>
            <a:ext cx="115503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7" name="Picture 3" descr="D:\_jobs\_brand\logos\080704_NSN_brand_mark_overview_online\NSN_reg_rgb_master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09781" y="6245114"/>
            <a:ext cx="1198539" cy="54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1671200" y="6276548"/>
            <a:ext cx="1520083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FF0000"/>
                </a:solidFill>
                <a:cs typeface="Arial"/>
              </a:rPr>
              <a:t>SECRET</a:t>
            </a:r>
            <a:endParaRPr lang="en-US" sz="800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000" y="6284738"/>
            <a:ext cx="416886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124191">
                    <a:tint val="75000"/>
                  </a:srgbClr>
                </a:solidFill>
                <a:cs typeface="Arial"/>
              </a:rPr>
              <a:t>©2013 Nokia Solutions and Networks. All rights reserved.</a:t>
            </a:r>
            <a:endParaRPr lang="en-US" sz="8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284738"/>
            <a:ext cx="420147" cy="356543"/>
          </a:xfrm>
          <a:prstGeom prst="rect">
            <a:avLst/>
          </a:prstGeom>
        </p:spPr>
        <p:txBody>
          <a:bodyPr vert="horz" lIns="0" tIns="45687" rIns="0" bIns="45687" rtlCol="0" anchor="ctr"/>
          <a:lstStyle>
            <a:defPPr>
              <a:defRPr lang="en-US"/>
            </a:defPPr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223803B-E8E2-334B-8877-4605643D3265}" type="slidenum">
              <a:rPr lang="en-US" sz="900" smtClean="0">
                <a:solidFill>
                  <a:srgbClr val="124191">
                    <a:tint val="75000"/>
                  </a:srgbClr>
                </a:solidFill>
                <a:cs typeface="Arial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124191">
                  <a:tint val="75000"/>
                </a:srgb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7863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27996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8DB731-43B4-644E-8C8C-D0B0600D9403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287780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8A97332-E39C-724D-A070-905544DDF077}" type="datetime1">
              <a:rPr lang="en-US" smtClean="0">
                <a:solidFill>
                  <a:srgbClr val="124191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</a:rPr>
              <a:t>Document ID / v. 0.1 / Life cycle status / Dept. / Author</a:t>
            </a:r>
            <a:endParaRPr lang="en-US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18627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92721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5686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287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493" y="372334"/>
            <a:ext cx="109728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65151" y="144991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44684" y="1449747"/>
            <a:ext cx="5376333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1943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2115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6689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7493" y="6284705"/>
            <a:ext cx="842755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69B7E1-5121-DB45-9E32-B75E98CC42EE}" type="datetime1">
              <a:rPr lang="en-US" smtClean="0">
                <a:solidFill>
                  <a:srgbClr val="124191"/>
                </a:solidFill>
                <a:latin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20/2016</a:t>
            </a:fld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1202" y="6284705"/>
            <a:ext cx="4235927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124191"/>
                </a:solidFill>
                <a:latin typeface="Arial" charset="0"/>
              </a:rPr>
              <a:t>Document ID / v. 0.1 / Life cycle status / Dept. / Author</a:t>
            </a:r>
            <a:endParaRPr lang="en-US">
              <a:solidFill>
                <a:srgbClr val="124191"/>
              </a:solidFill>
              <a:latin typeface="Arial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57495" y="717055"/>
            <a:ext cx="10970199" cy="402167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74330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83ADD9-BBF2-4F7F-B134-C2C29E88DD92}" type="datetimeFigureOut">
              <a:rPr lang="en-US" smtClean="0"/>
              <a:t>12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6FAD410-FED4-4E44-82C4-74EE1E9504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8634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68.xml"/><Relationship Id="rId7" Type="http://schemas.openxmlformats.org/officeDocument/2006/relationships/theme" Target="../theme/theme10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70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76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75.xml"/><Relationship Id="rId9" Type="http://schemas.openxmlformats.org/officeDocument/2006/relationships/vmlDrawing" Target="../drawings/vmlDrawing9.v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1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9.xml"/><Relationship Id="rId10" Type="http://schemas.openxmlformats.org/officeDocument/2006/relationships/theme" Target="../theme/theme13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96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02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theme" Target="../theme/theme15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04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103.xml"/><Relationship Id="rId9" Type="http://schemas.openxmlformats.org/officeDocument/2006/relationships/oleObject" Target="../embeddings/oleObject12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9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8.xml"/><Relationship Id="rId10" Type="http://schemas.openxmlformats.org/officeDocument/2006/relationships/theme" Target="../theme/theme17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3" Type="http://schemas.openxmlformats.org/officeDocument/2006/relationships/slideLayout" Target="../slideLayouts/slideLayout125.xml"/><Relationship Id="rId7" Type="http://schemas.openxmlformats.org/officeDocument/2006/relationships/theme" Target="../theme/theme18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27.xml"/><Relationship Id="rId10" Type="http://schemas.openxmlformats.org/officeDocument/2006/relationships/oleObject" Target="../embeddings/oleObject16.bin"/><Relationship Id="rId4" Type="http://schemas.openxmlformats.org/officeDocument/2006/relationships/slideLayout" Target="../slideLayouts/slideLayout126.xml"/><Relationship Id="rId9" Type="http://schemas.openxmlformats.org/officeDocument/2006/relationships/tags" Target="../tags/tag16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heme" Target="../theme/theme19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133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132.xml"/><Relationship Id="rId9" Type="http://schemas.openxmlformats.org/officeDocument/2006/relationships/vmlDrawing" Target="../drawings/vmlDrawing15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5.xml"/><Relationship Id="rId10" Type="http://schemas.openxmlformats.org/officeDocument/2006/relationships/theme" Target="../theme/theme21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53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3" Type="http://schemas.openxmlformats.org/officeDocument/2006/relationships/slideLayout" Target="../slideLayouts/slideLayout157.xml"/><Relationship Id="rId7" Type="http://schemas.openxmlformats.org/officeDocument/2006/relationships/theme" Target="../theme/theme23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59.xml"/><Relationship Id="rId10" Type="http://schemas.openxmlformats.org/officeDocument/2006/relationships/oleObject" Target="../embeddings/oleObject19.bin"/><Relationship Id="rId4" Type="http://schemas.openxmlformats.org/officeDocument/2006/relationships/slideLayout" Target="../slideLayouts/slideLayout158.xml"/><Relationship Id="rId9" Type="http://schemas.openxmlformats.org/officeDocument/2006/relationships/tags" Target="../tags/tag19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10" Type="http://schemas.openxmlformats.org/officeDocument/2006/relationships/theme" Target="../theme/theme24.xml"/><Relationship Id="rId4" Type="http://schemas.openxmlformats.org/officeDocument/2006/relationships/slideLayout" Target="../slideLayouts/slideLayout164.xml"/><Relationship Id="rId9" Type="http://schemas.openxmlformats.org/officeDocument/2006/relationships/slideLayout" Target="../slideLayouts/slideLayout16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9.xml"/><Relationship Id="rId9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45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theme" Target="../theme/theme7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 smtClean="0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 smtClean="0">
                <a:solidFill>
                  <a:srgbClr val="FFFFFF"/>
                </a:solidFill>
                <a:cs typeface="Arial" charset="0"/>
              </a:rPr>
              <a:t> Bovey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705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9148953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17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982408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92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</a:t>
            </a:r>
            <a:r>
              <a:rPr lang="en-GB" sz="5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 smtClean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341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87" r:id="rId6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26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85" r:id="rId9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5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smtClean="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smtClean="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10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86" r:id="rId6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151804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871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</a:t>
            </a:r>
            <a:r>
              <a:rPr lang="en-GB" sz="800" dirty="0" smtClean="0">
                <a:solidFill>
                  <a:srgbClr val="FFFFFF"/>
                </a:solidFill>
                <a:cs typeface="Arial" charset="0"/>
              </a:rPr>
              <a:t> Solutions and Networks 2014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9675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8" r:id="rId9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 smtClean="0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 smtClean="0">
                <a:solidFill>
                  <a:srgbClr val="FFFFFF"/>
                </a:solidFill>
                <a:cs typeface="Arial" charset="0"/>
              </a:rPr>
              <a:t> Bovey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526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21204604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4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217115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774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8638310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796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</a:t>
            </a:r>
            <a:r>
              <a:rPr lang="en-GB" sz="5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 smtClean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45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16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52" r:id="rId9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5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smtClean="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smtClean="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614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64359142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5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882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51" r:id="rId6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</a:t>
            </a:r>
            <a:r>
              <a:rPr lang="en-GB" sz="800" dirty="0" smtClean="0">
                <a:solidFill>
                  <a:srgbClr val="FFFFFF"/>
                </a:solidFill>
                <a:cs typeface="Arial" charset="0"/>
              </a:rPr>
              <a:t> Solutions and Networks 2014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462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7804789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60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</a:t>
            </a:r>
            <a:r>
              <a:rPr lang="en-GB" sz="5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 smtClean="0">
                <a:solidFill>
                  <a:srgbClr val="FFFFFF"/>
                </a:solidFill>
                <a:cs typeface="Arial" charset="0"/>
              </a:rPr>
              <a:t>© Nokia 2014      1.0   Peter Patomella  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0804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721" r:id="rId6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Creator   - </a:t>
            </a:r>
            <a:r>
              <a:rPr lang="en-GB" sz="800" dirty="0" err="1">
                <a:solidFill>
                  <a:srgbClr val="FFFFFF"/>
                </a:solidFill>
                <a:cs typeface="Arial" charset="0"/>
              </a:rPr>
              <a:t>DocID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198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22" r:id="rId9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5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612969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6" y="6191252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smtClean="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6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2" y="6383868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smtClean="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23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5312143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72534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7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22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5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9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612971" y="6229351"/>
            <a:ext cx="935567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788589" y="6191254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© Nokia 2014   - File Name   - Version   - Creator   - DocID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04489" y="6333067"/>
            <a:ext cx="8104716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6003" y="6383870"/>
            <a:ext cx="810471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68717A"/>
                </a:solidFill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574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2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42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35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7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6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6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18" y="6944786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102" y="6191253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3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</a:t>
            </a:r>
            <a:r>
              <a:rPr lang="en-GB" sz="800" dirty="0" smtClean="0">
                <a:solidFill>
                  <a:srgbClr val="FFFFFF"/>
                </a:solidFill>
                <a:cs typeface="Arial" charset="0"/>
              </a:rPr>
              <a:t> Solutions and Networks 2014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10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756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3" r:id="rId9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239184" y="791633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239184" y="65532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239184" y="11281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239184" y="1456267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239184" y="6220884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239184" y="5867400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239184" y="374651"/>
            <a:ext cx="1267036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5566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11542184" y="-196851"/>
            <a:ext cx="0" cy="734483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ln>
                <a:solidFill>
                  <a:srgbClr val="124191"/>
                </a:solidFill>
              </a:ln>
              <a:solidFill>
                <a:srgbClr val="124191"/>
              </a:solidFill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556684" y="384001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6684" y="1452035"/>
            <a:ext cx="109728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12192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3888319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3407834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966386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2446867" y="6944785"/>
            <a:ext cx="383117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927351" y="6944785"/>
            <a:ext cx="383116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863602" y="6944785"/>
            <a:ext cx="1056217" cy="17991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fontAlgn="base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963086" y="6191252"/>
            <a:ext cx="9165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EF4778-5275-AF44-A3A2-413C53D52084}" type="datetime1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/12/2016</a:t>
            </a:fld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577851" y="6191252"/>
            <a:ext cx="192616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90400" y="6192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cs typeface="Arial" charset="0"/>
              </a:rPr>
              <a:t>© Nokia 2014   - File Name   - Version   - </a:t>
            </a:r>
            <a:r>
              <a:rPr lang="en-GB" sz="800" dirty="0" err="1" smtClean="0">
                <a:solidFill>
                  <a:srgbClr val="FFFFFF"/>
                </a:solidFill>
                <a:cs typeface="Arial" charset="0"/>
              </a:rPr>
              <a:t>Stéphane</a:t>
            </a:r>
            <a:r>
              <a:rPr lang="en-GB" sz="800" dirty="0" smtClean="0">
                <a:solidFill>
                  <a:srgbClr val="FFFFFF"/>
                </a:solidFill>
                <a:cs typeface="Arial" charset="0"/>
              </a:rPr>
              <a:t> Bovey</a:t>
            </a:r>
            <a:endParaRPr lang="en-GB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000" y="6384002"/>
            <a:ext cx="673100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FFFFFF"/>
                </a:solidFill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566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Nokia Pure Headline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Nokia Pure Text" pitchFamily="34" charset="0"/>
          <a:cs typeface="Nokia Pure Text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4130" y="571856"/>
            <a:ext cx="11057022" cy="2001527"/>
          </a:xfrm>
        </p:spPr>
        <p:txBody>
          <a:bodyPr/>
          <a:lstStyle/>
          <a:p>
            <a:pPr algn="l"/>
            <a:r>
              <a:rPr lang="en-US" altLang="zh-CN" sz="6600" dirty="0" smtClean="0"/>
              <a:t>Troubleshooting share</a:t>
            </a: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9631" y="4770214"/>
            <a:ext cx="9144000" cy="1259632"/>
          </a:xfrm>
        </p:spPr>
        <p:txBody>
          <a:bodyPr/>
          <a:lstStyle/>
          <a:p>
            <a:pPr algn="l"/>
            <a:r>
              <a:rPr lang="en-US" altLang="zh-CN" dirty="0" smtClean="0"/>
              <a:t>Jarvan</a:t>
            </a:r>
          </a:p>
          <a:p>
            <a:pPr algn="l"/>
            <a:r>
              <a:rPr lang="en-US" dirty="0" smtClean="0"/>
              <a:t>2016-11-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326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730249" y="372095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 smtClean="0">
                <a:latin typeface="+mj-lt"/>
                <a:ea typeface="ヒラギノ角ゴ Pro W3" charset="0"/>
                <a:cs typeface="Arial"/>
              </a:rPr>
              <a:t>Architecture</a:t>
            </a:r>
            <a:endParaRPr lang="en-US" sz="2400" b="1" dirty="0">
              <a:latin typeface="+mj-lt"/>
              <a:ea typeface="ヒラギノ角ゴ Pro W3" charset="0"/>
              <a:cs typeface="Arial"/>
            </a:endParaRPr>
          </a:p>
        </p:txBody>
      </p:sp>
      <p:sp>
        <p:nvSpPr>
          <p:cNvPr id="2" name="Cloud 1"/>
          <p:cNvSpPr/>
          <p:nvPr/>
        </p:nvSpPr>
        <p:spPr>
          <a:xfrm>
            <a:off x="3509319" y="5474614"/>
            <a:ext cx="4633784" cy="852616"/>
          </a:xfrm>
          <a:prstGeom prst="cloud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accent4"/>
                </a:solidFill>
              </a:rPr>
              <a:t>3GPP CORBA FM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945292" y="36972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945292" y="227883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0392031" y="4258872"/>
            <a:ext cx="15940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ngine layer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10080023" y="2816035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heck Point layer</a:t>
            </a:r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975736" y="92946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080023" y="1466666"/>
            <a:ext cx="2218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ase layer</a:t>
            </a:r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975736" y="5088234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975736" y="3947294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2060"/>
                </a:solidFill>
              </a:rPr>
              <a:t>AlarmIRPSim.jar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975736" y="4492366"/>
            <a:ext cx="1779373" cy="416250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BasicCMSim.jar</a:t>
            </a:r>
            <a:endParaRPr lang="en-US" sz="1400" dirty="0" smtClean="0">
              <a:solidFill>
                <a:srgbClr val="002060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870439" y="3951954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CSIRPSim.jar</a:t>
            </a:r>
            <a:endParaRPr lang="en-US" sz="1400" dirty="0" smtClean="0">
              <a:solidFill>
                <a:srgbClr val="002060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2870439" y="4477882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EPIRPSim.jar</a:t>
            </a:r>
            <a:endParaRPr lang="en-US" sz="1400" dirty="0" smtClean="0">
              <a:solidFill>
                <a:srgbClr val="002060"/>
              </a:solidFill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4765142" y="3966023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FTIRPSim.jar</a:t>
            </a:r>
            <a:endParaRPr lang="en-US" sz="1400" dirty="0" smtClean="0">
              <a:solidFill>
                <a:srgbClr val="002060"/>
              </a:solidFill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4764694" y="4467585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GetIORFromNS.jar</a:t>
            </a:r>
            <a:endParaRPr lang="en-US" sz="1400" dirty="0" smtClean="0">
              <a:solidFill>
                <a:srgbClr val="002060"/>
              </a:solidFill>
            </a:endParaRPr>
          </a:p>
        </p:txBody>
      </p:sp>
      <p:sp>
        <p:nvSpPr>
          <p:cNvPr id="43" name="Rounded Rectangle 42"/>
          <p:cNvSpPr/>
          <p:nvPr/>
        </p:nvSpPr>
        <p:spPr>
          <a:xfrm>
            <a:off x="6659845" y="3966023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2060"/>
                </a:solidFill>
              </a:rPr>
              <a:t>GetNSStatus.jar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6660437" y="4492366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JacorbManager.jar</a:t>
            </a:r>
            <a:endParaRPr lang="en-US" sz="1400" dirty="0" smtClean="0">
              <a:solidFill>
                <a:srgbClr val="002060"/>
              </a:solidFill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8531035" y="3978647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KernelCMSim.jar</a:t>
            </a:r>
            <a:endParaRPr lang="en-US" sz="1400" dirty="0" smtClean="0">
              <a:solidFill>
                <a:srgbClr val="002060"/>
              </a:solidFill>
            </a:endParaRPr>
          </a:p>
        </p:txBody>
      </p:sp>
      <p:sp>
        <p:nvSpPr>
          <p:cNvPr id="46" name="Rounded Rectangle 45"/>
          <p:cNvSpPr/>
          <p:nvPr/>
        </p:nvSpPr>
        <p:spPr>
          <a:xfrm>
            <a:off x="8531034" y="4519549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2060"/>
                </a:solidFill>
              </a:rPr>
              <a:t>parseIOR.sh</a:t>
            </a:r>
          </a:p>
        </p:txBody>
      </p:sp>
      <p:sp>
        <p:nvSpPr>
          <p:cNvPr id="9" name="Oval 8"/>
          <p:cNvSpPr/>
          <p:nvPr/>
        </p:nvSpPr>
        <p:spPr>
          <a:xfrm>
            <a:off x="1235676" y="2434280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001</a:t>
            </a:r>
          </a:p>
        </p:txBody>
      </p:sp>
      <p:sp>
        <p:nvSpPr>
          <p:cNvPr id="48" name="Oval 47"/>
          <p:cNvSpPr/>
          <p:nvPr/>
        </p:nvSpPr>
        <p:spPr>
          <a:xfrm>
            <a:off x="1235676" y="3071142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002</a:t>
            </a:r>
          </a:p>
        </p:txBody>
      </p:sp>
      <p:sp>
        <p:nvSpPr>
          <p:cNvPr id="50" name="Oval 49"/>
          <p:cNvSpPr/>
          <p:nvPr/>
        </p:nvSpPr>
        <p:spPr>
          <a:xfrm>
            <a:off x="3385464" y="2421001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003</a:t>
            </a:r>
          </a:p>
        </p:txBody>
      </p:sp>
      <p:sp>
        <p:nvSpPr>
          <p:cNvPr id="51" name="Oval 50"/>
          <p:cNvSpPr/>
          <p:nvPr/>
        </p:nvSpPr>
        <p:spPr>
          <a:xfrm>
            <a:off x="3417520" y="3078286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004</a:t>
            </a:r>
          </a:p>
        </p:txBody>
      </p:sp>
      <p:sp>
        <p:nvSpPr>
          <p:cNvPr id="52" name="Oval 51"/>
          <p:cNvSpPr/>
          <p:nvPr/>
        </p:nvSpPr>
        <p:spPr>
          <a:xfrm>
            <a:off x="5535252" y="2434280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005</a:t>
            </a:r>
          </a:p>
        </p:txBody>
      </p:sp>
      <p:sp>
        <p:nvSpPr>
          <p:cNvPr id="53" name="Oval 52"/>
          <p:cNvSpPr/>
          <p:nvPr/>
        </p:nvSpPr>
        <p:spPr>
          <a:xfrm>
            <a:off x="5535252" y="3081207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006</a:t>
            </a:r>
          </a:p>
        </p:txBody>
      </p:sp>
      <p:sp>
        <p:nvSpPr>
          <p:cNvPr id="55" name="Oval 54"/>
          <p:cNvSpPr/>
          <p:nvPr/>
        </p:nvSpPr>
        <p:spPr>
          <a:xfrm>
            <a:off x="7685040" y="2461464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007</a:t>
            </a:r>
          </a:p>
        </p:txBody>
      </p:sp>
      <p:sp>
        <p:nvSpPr>
          <p:cNvPr id="56" name="Oval 55"/>
          <p:cNvSpPr/>
          <p:nvPr/>
        </p:nvSpPr>
        <p:spPr>
          <a:xfrm>
            <a:off x="7697986" y="3091733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008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1346887" y="1198605"/>
            <a:ext cx="2070634" cy="452932"/>
          </a:xfrm>
          <a:prstGeom prst="wedgeRoundRectCallou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Security IIOP/HTTP</a:t>
            </a:r>
          </a:p>
        </p:txBody>
      </p:sp>
      <p:sp>
        <p:nvSpPr>
          <p:cNvPr id="57" name="Rounded Rectangular Callout 56"/>
          <p:cNvSpPr/>
          <p:nvPr/>
        </p:nvSpPr>
        <p:spPr>
          <a:xfrm>
            <a:off x="4454035" y="1189039"/>
            <a:ext cx="2022179" cy="482340"/>
          </a:xfrm>
          <a:prstGeom prst="wedgeRoundRectCallou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Event </a:t>
            </a:r>
            <a:r>
              <a:rPr lang="en-US" sz="1400" dirty="0" err="1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Chanle</a:t>
            </a:r>
            <a:endParaRPr lang="en-US" sz="1400" dirty="0" smtClean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8" name="Rounded Rectangular Callout 57"/>
          <p:cNvSpPr/>
          <p:nvPr/>
        </p:nvSpPr>
        <p:spPr>
          <a:xfrm>
            <a:off x="7536759" y="1169503"/>
            <a:ext cx="2027098" cy="482034"/>
          </a:xfrm>
          <a:prstGeom prst="wedgeRoundRectCallou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err="1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SetCode</a:t>
            </a:r>
            <a:endParaRPr lang="en-US" sz="1200" dirty="0" smtClean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Snip Single Corner Rectangle 2"/>
          <p:cNvSpPr/>
          <p:nvPr/>
        </p:nvSpPr>
        <p:spPr>
          <a:xfrm>
            <a:off x="1121790" y="1835998"/>
            <a:ext cx="1036948" cy="355951"/>
          </a:xfrm>
          <a:prstGeom prst="snip1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2060"/>
                </a:solidFill>
              </a:rPr>
              <a:t>Problem 0001</a:t>
            </a:r>
          </a:p>
        </p:txBody>
      </p:sp>
      <p:sp>
        <p:nvSpPr>
          <p:cNvPr id="35" name="Snip Single Corner Rectangle 34"/>
          <p:cNvSpPr/>
          <p:nvPr/>
        </p:nvSpPr>
        <p:spPr>
          <a:xfrm>
            <a:off x="2382204" y="1837146"/>
            <a:ext cx="1036948" cy="355951"/>
          </a:xfrm>
          <a:prstGeom prst="snip1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2060"/>
                </a:solidFill>
              </a:rPr>
              <a:t>Problem 0002</a:t>
            </a:r>
          </a:p>
        </p:txBody>
      </p:sp>
      <p:sp>
        <p:nvSpPr>
          <p:cNvPr id="42" name="Snip Single Corner Rectangle 41"/>
          <p:cNvSpPr/>
          <p:nvPr/>
        </p:nvSpPr>
        <p:spPr>
          <a:xfrm>
            <a:off x="4946650" y="1829305"/>
            <a:ext cx="1036948" cy="355951"/>
          </a:xfrm>
          <a:prstGeom prst="snip1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2060"/>
                </a:solidFill>
              </a:rPr>
              <a:t>Problem 0011</a:t>
            </a:r>
          </a:p>
        </p:txBody>
      </p:sp>
      <p:sp>
        <p:nvSpPr>
          <p:cNvPr id="47" name="Snip Single Corner Rectangle 46"/>
          <p:cNvSpPr/>
          <p:nvPr/>
        </p:nvSpPr>
        <p:spPr>
          <a:xfrm>
            <a:off x="8012560" y="1814537"/>
            <a:ext cx="1036948" cy="355951"/>
          </a:xfrm>
          <a:prstGeom prst="snip1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2060"/>
                </a:solidFill>
              </a:rPr>
              <a:t>Problem 0021</a:t>
            </a:r>
          </a:p>
        </p:txBody>
      </p:sp>
    </p:spTree>
    <p:extLst>
      <p:ext uri="{BB962C8B-B14F-4D97-AF65-F5344CB8AC3E}">
        <p14:creationId xmlns:p14="http://schemas.microsoft.com/office/powerpoint/2010/main" val="2017643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 smtClean="0">
                <a:latin typeface="+mj-lt"/>
                <a:ea typeface="ヒラギノ角ゴ Pro W3" charset="0"/>
                <a:cs typeface="Arial"/>
              </a:rPr>
              <a:t>Architecture	(engine layer)</a:t>
            </a:r>
            <a:endParaRPr lang="en-US" sz="2400" b="1" dirty="0">
              <a:latin typeface="+mj-lt"/>
              <a:ea typeface="ヒラギノ角ゴ Pro W3" charset="0"/>
              <a:cs typeface="Arial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988253" y="125442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988253" y="519697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41" name="Rounded Rectangle 40"/>
          <p:cNvSpPr/>
          <p:nvPr/>
        </p:nvSpPr>
        <p:spPr>
          <a:xfrm>
            <a:off x="3432987" y="4286333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GetIORFromNS.jar</a:t>
            </a:r>
            <a:endParaRPr lang="en-US" sz="1400" dirty="0" smtClean="0">
              <a:solidFill>
                <a:srgbClr val="002060"/>
              </a:solidFill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5666792" y="4281402"/>
            <a:ext cx="1779373" cy="443713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</a:rPr>
              <a:t>JacorbManager.jar</a:t>
            </a:r>
            <a:endParaRPr lang="en-US" sz="1400" dirty="0" smtClean="0">
              <a:solidFill>
                <a:srgbClr val="002060"/>
              </a:solidFill>
            </a:endParaRPr>
          </a:p>
        </p:txBody>
      </p:sp>
      <p:sp>
        <p:nvSpPr>
          <p:cNvPr id="39" name="Cloud 38"/>
          <p:cNvSpPr/>
          <p:nvPr/>
        </p:nvSpPr>
        <p:spPr>
          <a:xfrm>
            <a:off x="3212757" y="5584334"/>
            <a:ext cx="4633784" cy="852616"/>
          </a:xfrm>
          <a:prstGeom prst="cloud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accent4"/>
                </a:solidFill>
              </a:rPr>
              <a:t>3GPP CORBA FM</a:t>
            </a:r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4228694" y="4881222"/>
            <a:ext cx="437862" cy="696160"/>
          </a:xfrm>
          <a:prstGeom prst="straightConnector1">
            <a:avLst/>
          </a:prstGeom>
          <a:ln w="19050" cmpd="sng">
            <a:solidFill>
              <a:schemeClr val="accent3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5926364" y="4826682"/>
            <a:ext cx="590771" cy="708043"/>
          </a:xfrm>
          <a:prstGeom prst="straightConnector1">
            <a:avLst/>
          </a:prstGeom>
          <a:ln w="19050" cmpd="sng">
            <a:solidFill>
              <a:schemeClr val="accent3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1584466" y="1986660"/>
            <a:ext cx="8569411" cy="80627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32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Engine </a:t>
            </a:r>
            <a:endParaRPr lang="en-US" sz="900" dirty="0" smtClean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109211" y="769611"/>
            <a:ext cx="2736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getProxyRegisterStatus</a:t>
            </a:r>
            <a:endParaRPr lang="en-US" dirty="0"/>
          </a:p>
        </p:txBody>
      </p:sp>
      <p:sp>
        <p:nvSpPr>
          <p:cNvPr id="22" name="Down Arrow 21"/>
          <p:cNvSpPr/>
          <p:nvPr/>
        </p:nvSpPr>
        <p:spPr>
          <a:xfrm>
            <a:off x="5212360" y="1136118"/>
            <a:ext cx="199899" cy="853320"/>
          </a:xfrm>
          <a:prstGeom prst="down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accent4"/>
              </a:solidFill>
            </a:endParaRPr>
          </a:p>
        </p:txBody>
      </p:sp>
      <p:cxnSp>
        <p:nvCxnSpPr>
          <p:cNvPr id="27" name="Straight Arrow Connector 26"/>
          <p:cNvCxnSpPr/>
          <p:nvPr/>
        </p:nvCxnSpPr>
        <p:spPr>
          <a:xfrm flipH="1">
            <a:off x="4228694" y="3323530"/>
            <a:ext cx="360538" cy="723883"/>
          </a:xfrm>
          <a:prstGeom prst="straightConnector1">
            <a:avLst/>
          </a:prstGeom>
          <a:ln w="19050" cmpd="sng">
            <a:solidFill>
              <a:schemeClr val="accent3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4432" name="Straight Arrow Connector 274431"/>
          <p:cNvCxnSpPr/>
          <p:nvPr/>
        </p:nvCxnSpPr>
        <p:spPr>
          <a:xfrm>
            <a:off x="6202956" y="3315647"/>
            <a:ext cx="405501" cy="723883"/>
          </a:xfrm>
          <a:prstGeom prst="straightConnector1">
            <a:avLst/>
          </a:prstGeom>
          <a:ln w="19050" cmpd="sng">
            <a:solidFill>
              <a:schemeClr val="accent3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Flowchart: Alternate Process 6"/>
          <p:cNvSpPr/>
          <p:nvPr/>
        </p:nvSpPr>
        <p:spPr>
          <a:xfrm>
            <a:off x="4128253" y="2666969"/>
            <a:ext cx="1109916" cy="481142"/>
          </a:xfrm>
          <a:prstGeom prst="flowChartAlternateProcess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ache</a:t>
            </a:r>
          </a:p>
        </p:txBody>
      </p:sp>
      <p:sp>
        <p:nvSpPr>
          <p:cNvPr id="20" name="Flowchart: Alternate Process 19"/>
          <p:cNvSpPr/>
          <p:nvPr/>
        </p:nvSpPr>
        <p:spPr>
          <a:xfrm>
            <a:off x="5666792" y="2659086"/>
            <a:ext cx="1109916" cy="481142"/>
          </a:xfrm>
          <a:prstGeom prst="flowChartAlternateProcess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2060"/>
                </a:solidFill>
              </a:rPr>
              <a:t>cache</a:t>
            </a:r>
            <a:endParaRPr lang="en-US" dirty="0" smtClean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213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 smtClean="0">
                <a:latin typeface="+mj-lt"/>
                <a:ea typeface="ヒラギノ角ゴ Pro W3" charset="0"/>
                <a:cs typeface="Arial"/>
              </a:rPr>
              <a:t>Architecture	(check point layer)</a:t>
            </a:r>
            <a:endParaRPr lang="en-US" sz="2400" b="1" dirty="0">
              <a:latin typeface="+mj-lt"/>
              <a:ea typeface="ヒラギノ角ゴ Pro W3" charset="0"/>
              <a:cs typeface="Arial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988253" y="125442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988253" y="5196976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4059782" y="761117"/>
            <a:ext cx="33048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ase :security IIOP/HTTP</a:t>
            </a:r>
            <a:endParaRPr lang="en-US" dirty="0"/>
          </a:p>
        </p:txBody>
      </p:sp>
      <p:sp>
        <p:nvSpPr>
          <p:cNvPr id="2" name="Down Arrow 1"/>
          <p:cNvSpPr/>
          <p:nvPr/>
        </p:nvSpPr>
        <p:spPr>
          <a:xfrm>
            <a:off x="5465106" y="1128968"/>
            <a:ext cx="321276" cy="785375"/>
          </a:xfrm>
          <a:prstGeom prst="down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accent4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743213" y="1441827"/>
            <a:ext cx="3444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q:CP1001,CP1005,CP2004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4040738" y="1915685"/>
            <a:ext cx="3323887" cy="864323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3200" dirty="0" smtClean="0">
                <a:solidFill>
                  <a:srgbClr val="002060"/>
                </a:solidFill>
              </a:rPr>
              <a:t>manager</a:t>
            </a:r>
            <a:endParaRPr lang="en-US" dirty="0" smtClean="0">
              <a:solidFill>
                <a:srgbClr val="002060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1571468" y="3275812"/>
            <a:ext cx="1865870" cy="453060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001</a:t>
            </a:r>
          </a:p>
        </p:txBody>
      </p:sp>
      <p:sp>
        <p:nvSpPr>
          <p:cNvPr id="23" name="Oval 22"/>
          <p:cNvSpPr/>
          <p:nvPr/>
        </p:nvSpPr>
        <p:spPr>
          <a:xfrm>
            <a:off x="4632562" y="3298121"/>
            <a:ext cx="1865870" cy="453060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1005</a:t>
            </a:r>
          </a:p>
        </p:txBody>
      </p:sp>
      <p:sp>
        <p:nvSpPr>
          <p:cNvPr id="24" name="Oval 23"/>
          <p:cNvSpPr/>
          <p:nvPr/>
        </p:nvSpPr>
        <p:spPr>
          <a:xfrm>
            <a:off x="7700699" y="3402049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2004</a:t>
            </a:r>
          </a:p>
        </p:txBody>
      </p:sp>
      <p:sp>
        <p:nvSpPr>
          <p:cNvPr id="31" name="Cloud 30"/>
          <p:cNvSpPr/>
          <p:nvPr/>
        </p:nvSpPr>
        <p:spPr>
          <a:xfrm>
            <a:off x="1075038" y="5684741"/>
            <a:ext cx="9957486" cy="746269"/>
          </a:xfrm>
          <a:prstGeom prst="cloud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ngine</a:t>
            </a:r>
            <a:endParaRPr lang="en-US" dirty="0" smtClean="0">
              <a:solidFill>
                <a:schemeClr val="accent4"/>
              </a:solidFill>
            </a:endParaRPr>
          </a:p>
        </p:txBody>
      </p:sp>
      <p:sp>
        <p:nvSpPr>
          <p:cNvPr id="53" name="Oval 52"/>
          <p:cNvSpPr/>
          <p:nvPr/>
        </p:nvSpPr>
        <p:spPr>
          <a:xfrm>
            <a:off x="6659690" y="3882017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2005</a:t>
            </a:r>
          </a:p>
        </p:txBody>
      </p:sp>
      <p:sp>
        <p:nvSpPr>
          <p:cNvPr id="54" name="Oval 53"/>
          <p:cNvSpPr/>
          <p:nvPr/>
        </p:nvSpPr>
        <p:spPr>
          <a:xfrm>
            <a:off x="8884221" y="3883745"/>
            <a:ext cx="1865870" cy="453059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CP2006</a:t>
            </a:r>
          </a:p>
        </p:txBody>
      </p:sp>
      <p:sp>
        <p:nvSpPr>
          <p:cNvPr id="7" name="Left Brace 6"/>
          <p:cNvSpPr/>
          <p:nvPr/>
        </p:nvSpPr>
        <p:spPr>
          <a:xfrm rot="5400000">
            <a:off x="5353109" y="-60432"/>
            <a:ext cx="424776" cy="6136276"/>
          </a:xfrm>
          <a:prstGeom prst="leftBrac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own Arrow 7"/>
          <p:cNvSpPr/>
          <p:nvPr/>
        </p:nvSpPr>
        <p:spPr>
          <a:xfrm>
            <a:off x="2347274" y="3882017"/>
            <a:ext cx="150085" cy="1666391"/>
          </a:xfrm>
          <a:prstGeom prst="down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accent4"/>
              </a:solidFill>
            </a:endParaRPr>
          </a:p>
        </p:txBody>
      </p:sp>
      <p:sp>
        <p:nvSpPr>
          <p:cNvPr id="29" name="Down Arrow 28"/>
          <p:cNvSpPr/>
          <p:nvPr/>
        </p:nvSpPr>
        <p:spPr>
          <a:xfrm>
            <a:off x="5475659" y="3847268"/>
            <a:ext cx="152143" cy="1701140"/>
          </a:xfrm>
          <a:prstGeom prst="down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accent4"/>
              </a:solidFill>
            </a:endParaRPr>
          </a:p>
        </p:txBody>
      </p:sp>
      <p:sp>
        <p:nvSpPr>
          <p:cNvPr id="32" name="Down Arrow 31"/>
          <p:cNvSpPr/>
          <p:nvPr/>
        </p:nvSpPr>
        <p:spPr>
          <a:xfrm>
            <a:off x="7551730" y="4425707"/>
            <a:ext cx="148969" cy="1101918"/>
          </a:xfrm>
          <a:prstGeom prst="down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accent4"/>
              </a:solidFill>
            </a:endParaRPr>
          </a:p>
        </p:txBody>
      </p:sp>
      <p:sp>
        <p:nvSpPr>
          <p:cNvPr id="34" name="Down Arrow 33"/>
          <p:cNvSpPr/>
          <p:nvPr/>
        </p:nvSpPr>
        <p:spPr>
          <a:xfrm>
            <a:off x="9817156" y="4425707"/>
            <a:ext cx="109269" cy="1101918"/>
          </a:xfrm>
          <a:prstGeom prst="down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619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 smtClean="0">
                <a:latin typeface="+mj-lt"/>
                <a:ea typeface="ヒラギノ角ゴ Pro W3" charset="0"/>
                <a:cs typeface="Arial"/>
              </a:rPr>
              <a:t>Architecture	(case layer)</a:t>
            </a:r>
            <a:endParaRPr lang="en-US" sz="2400" b="1" dirty="0">
              <a:latin typeface="+mj-lt"/>
              <a:ea typeface="ヒラギノ角ゴ Pro W3" charset="0"/>
              <a:cs typeface="Arial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988253" y="125442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975736" y="6058228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5" name="Flowchart: Alternate Process 4"/>
          <p:cNvSpPr/>
          <p:nvPr/>
        </p:nvSpPr>
        <p:spPr>
          <a:xfrm>
            <a:off x="3424839" y="2016729"/>
            <a:ext cx="2780270" cy="543698"/>
          </a:xfrm>
          <a:prstGeom prst="flowChartAlternateProcess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Security</a:t>
            </a:r>
            <a:r>
              <a:rPr lang="en-US" dirty="0" smtClean="0">
                <a:solidFill>
                  <a:schemeClr val="accent4"/>
                </a:solidFill>
              </a:rPr>
              <a:t> </a:t>
            </a:r>
            <a:r>
              <a:rPr lang="en-US" dirty="0" smtClean="0">
                <a:solidFill>
                  <a:srgbClr val="002060"/>
                </a:solidFill>
              </a:rPr>
              <a:t>IIOP/HTTP</a:t>
            </a:r>
          </a:p>
        </p:txBody>
      </p:sp>
      <p:sp>
        <p:nvSpPr>
          <p:cNvPr id="9" name="Flowchart: Alternate Process 8"/>
          <p:cNvSpPr/>
          <p:nvPr/>
        </p:nvSpPr>
        <p:spPr>
          <a:xfrm>
            <a:off x="1695339" y="3351772"/>
            <a:ext cx="2780270" cy="543698"/>
          </a:xfrm>
          <a:prstGeom prst="flowChartAlternateProcess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dirty="0" smtClean="0">
                <a:solidFill>
                  <a:srgbClr val="002060"/>
                </a:solidFill>
              </a:rPr>
              <a:t>Problem P001</a:t>
            </a:r>
            <a:endParaRPr lang="en-US" dirty="0" smtClean="0">
              <a:solidFill>
                <a:srgbClr val="002060"/>
              </a:solidFill>
            </a:endParaRPr>
          </a:p>
        </p:txBody>
      </p:sp>
      <p:sp>
        <p:nvSpPr>
          <p:cNvPr id="10" name="Flowchart: Alternate Process 9"/>
          <p:cNvSpPr/>
          <p:nvPr/>
        </p:nvSpPr>
        <p:spPr>
          <a:xfrm>
            <a:off x="5090032" y="3345665"/>
            <a:ext cx="2780270" cy="543698"/>
          </a:xfrm>
          <a:prstGeom prst="flowChartAlternateProcess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dirty="0" smtClean="0">
                <a:solidFill>
                  <a:srgbClr val="002060"/>
                </a:solidFill>
              </a:rPr>
              <a:t>Problem P002</a:t>
            </a:r>
            <a:endParaRPr lang="en-US" dirty="0" smtClean="0">
              <a:solidFill>
                <a:srgbClr val="002060"/>
              </a:solidFill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1773577" y="3125448"/>
            <a:ext cx="6900420" cy="0"/>
          </a:xfrm>
          <a:prstGeom prst="lin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Left Bracket 5"/>
          <p:cNvSpPr/>
          <p:nvPr/>
        </p:nvSpPr>
        <p:spPr>
          <a:xfrm>
            <a:off x="6346413" y="1753386"/>
            <a:ext cx="267509" cy="1008668"/>
          </a:xfrm>
          <a:prstGeom prst="leftBracket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6755226" y="1873441"/>
            <a:ext cx="37424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</a:t>
            </a:r>
            <a:r>
              <a:rPr lang="en-US" dirty="0" err="1" smtClean="0"/>
              <a:t>heckPoint</a:t>
            </a:r>
            <a:r>
              <a:rPr lang="en-US" dirty="0" smtClean="0"/>
              <a:t> list: CP0001,CP0002,CP2004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646082" y="3992480"/>
            <a:ext cx="3168892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Condition:CP0001 or CP0002</a:t>
            </a:r>
          </a:p>
          <a:p>
            <a:endParaRPr lang="en-US" sz="1200" dirty="0" smtClean="0"/>
          </a:p>
          <a:p>
            <a:r>
              <a:rPr lang="en-US" sz="1200" dirty="0" smtClean="0"/>
              <a:t>Description: the security mode are different between nbi3gc and </a:t>
            </a:r>
            <a:r>
              <a:rPr lang="en-US" sz="1200" dirty="0" err="1" smtClean="0"/>
              <a:t>jacorb</a:t>
            </a:r>
            <a:endParaRPr lang="en-US" sz="1200" dirty="0" smtClean="0"/>
          </a:p>
          <a:p>
            <a:endParaRPr lang="en-US" sz="1200" dirty="0" smtClean="0"/>
          </a:p>
          <a:p>
            <a:r>
              <a:rPr lang="en-US" sz="1200" dirty="0" smtClean="0"/>
              <a:t>M-Solution: 	</a:t>
            </a:r>
          </a:p>
          <a:p>
            <a:r>
              <a:rPr lang="en-US" sz="1200" dirty="0"/>
              <a:t>	</a:t>
            </a:r>
            <a:r>
              <a:rPr lang="en-US" sz="1200" dirty="0" smtClean="0"/>
              <a:t>step 1.xxxx</a:t>
            </a:r>
          </a:p>
          <a:p>
            <a:r>
              <a:rPr lang="en-US" sz="1200" dirty="0" smtClean="0"/>
              <a:t>	step 2.xxxx</a:t>
            </a:r>
          </a:p>
          <a:p>
            <a:r>
              <a:rPr lang="en-US" sz="1200" dirty="0" smtClean="0"/>
              <a:t>A-Solution:</a:t>
            </a:r>
          </a:p>
          <a:p>
            <a:r>
              <a:rPr lang="en-US" sz="1200" dirty="0"/>
              <a:t>	</a:t>
            </a:r>
            <a:r>
              <a:rPr lang="en-US" sz="1200" dirty="0" smtClean="0"/>
              <a:t>……..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5029476" y="3992480"/>
            <a:ext cx="3168892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Condition:CP0001 and CP0004</a:t>
            </a:r>
          </a:p>
          <a:p>
            <a:endParaRPr lang="en-US" sz="1200" dirty="0" smtClean="0"/>
          </a:p>
          <a:p>
            <a:r>
              <a:rPr lang="en-US" sz="1200" dirty="0" smtClean="0"/>
              <a:t>Description: the certificate are not match between nbi3gc and </a:t>
            </a:r>
            <a:r>
              <a:rPr lang="en-US" sz="1200" dirty="0" err="1" smtClean="0"/>
              <a:t>jacorb</a:t>
            </a:r>
            <a:endParaRPr lang="en-US" sz="1200" dirty="0" smtClean="0"/>
          </a:p>
          <a:p>
            <a:endParaRPr lang="en-US" sz="1200" dirty="0" smtClean="0"/>
          </a:p>
          <a:p>
            <a:r>
              <a:rPr lang="en-US" sz="1200" dirty="0" smtClean="0"/>
              <a:t>M-Solution: 	</a:t>
            </a:r>
          </a:p>
          <a:p>
            <a:r>
              <a:rPr lang="en-US" sz="1200" dirty="0"/>
              <a:t>	</a:t>
            </a:r>
            <a:r>
              <a:rPr lang="en-US" sz="1200" dirty="0" smtClean="0"/>
              <a:t>step 1.xxxx</a:t>
            </a:r>
          </a:p>
          <a:p>
            <a:r>
              <a:rPr lang="en-US" sz="1200" dirty="0" smtClean="0"/>
              <a:t>	step 2.xxxx</a:t>
            </a:r>
          </a:p>
          <a:p>
            <a:r>
              <a:rPr lang="en-US" sz="1200" dirty="0" smtClean="0"/>
              <a:t>A-Solution:</a:t>
            </a:r>
          </a:p>
          <a:p>
            <a:r>
              <a:rPr lang="en-US" sz="1200" dirty="0"/>
              <a:t>	</a:t>
            </a:r>
            <a:r>
              <a:rPr lang="en-US" sz="1200" dirty="0" smtClean="0"/>
              <a:t>……..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630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Footer Placeholder 3"/>
          <p:cNvSpPr txBox="1">
            <a:spLocks noGrp="1"/>
          </p:cNvSpPr>
          <p:nvPr/>
        </p:nvSpPr>
        <p:spPr bwMode="auto">
          <a:xfrm>
            <a:off x="3311771" y="6588126"/>
            <a:ext cx="5089768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933" dirty="0"/>
              <a:t>Pre-study</a:t>
            </a:r>
          </a:p>
        </p:txBody>
      </p:sp>
      <p:sp>
        <p:nvSpPr>
          <p:cNvPr id="77" name="Rectangle 2"/>
          <p:cNvSpPr txBox="1">
            <a:spLocks noChangeArrowheads="1"/>
          </p:cNvSpPr>
          <p:nvPr/>
        </p:nvSpPr>
        <p:spPr bwMode="auto">
          <a:xfrm>
            <a:off x="860013" y="346250"/>
            <a:ext cx="109728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 smtClean="0">
                <a:latin typeface="+mj-lt"/>
                <a:ea typeface="ヒラギノ角ゴ Pro W3" charset="0"/>
                <a:cs typeface="Arial"/>
              </a:rPr>
              <a:t>Architecture	</a:t>
            </a:r>
            <a:r>
              <a:rPr lang="en-US" sz="2400" b="1" dirty="0" smtClean="0">
                <a:latin typeface="+mj-lt"/>
                <a:ea typeface="ヒラギノ角ゴ Pro W3" charset="0"/>
                <a:cs typeface="Arial"/>
              </a:rPr>
              <a:t>(demo</a:t>
            </a:r>
            <a:r>
              <a:rPr lang="en-US" sz="2400" b="1" dirty="0" smtClean="0">
                <a:latin typeface="+mj-lt"/>
                <a:ea typeface="ヒラギノ角ゴ Pro W3" charset="0"/>
                <a:cs typeface="Arial"/>
              </a:rPr>
              <a:t>)</a:t>
            </a:r>
            <a:endParaRPr lang="en-US" sz="2400" b="1" dirty="0">
              <a:latin typeface="+mj-lt"/>
              <a:ea typeface="ヒラギノ角ゴ Pro W3" charset="0"/>
              <a:cs typeface="Arial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988253" y="125442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007805" y="4924345"/>
            <a:ext cx="9761838" cy="12357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5" name="Flowchart: Alternate Process 4"/>
          <p:cNvSpPr/>
          <p:nvPr/>
        </p:nvSpPr>
        <p:spPr>
          <a:xfrm>
            <a:off x="3424839" y="2016729"/>
            <a:ext cx="2780270" cy="543698"/>
          </a:xfrm>
          <a:prstGeom prst="flowChartAlternateProcess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Security</a:t>
            </a:r>
            <a:endParaRPr lang="en-US" dirty="0" smtClean="0">
              <a:solidFill>
                <a:srgbClr val="002060"/>
              </a:solidFill>
            </a:endParaRPr>
          </a:p>
        </p:txBody>
      </p:sp>
      <p:sp>
        <p:nvSpPr>
          <p:cNvPr id="9" name="Flowchart: Alternate Process 8"/>
          <p:cNvSpPr/>
          <p:nvPr/>
        </p:nvSpPr>
        <p:spPr>
          <a:xfrm>
            <a:off x="3974956" y="3356677"/>
            <a:ext cx="2780270" cy="543698"/>
          </a:xfrm>
          <a:prstGeom prst="flowChartAlternateProcess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Security_002</a:t>
            </a:r>
            <a:endParaRPr lang="en-US" dirty="0" smtClean="0">
              <a:solidFill>
                <a:srgbClr val="002060"/>
              </a:solidFill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1773577" y="3125448"/>
            <a:ext cx="6900420" cy="0"/>
          </a:xfrm>
          <a:prstGeom prst="lin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Left Bracket 5"/>
          <p:cNvSpPr/>
          <p:nvPr/>
        </p:nvSpPr>
        <p:spPr>
          <a:xfrm>
            <a:off x="6346413" y="1753386"/>
            <a:ext cx="267509" cy="1008668"/>
          </a:xfrm>
          <a:prstGeom prst="leftBracket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6755226" y="1873441"/>
            <a:ext cx="801487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scribe:  Nbi3gc </a:t>
            </a:r>
            <a:r>
              <a:rPr lang="en-US" dirty="0"/>
              <a:t>be observed a IIOP security problem</a:t>
            </a:r>
          </a:p>
          <a:p>
            <a:r>
              <a:rPr lang="en-US" dirty="0" err="1" smtClean="0"/>
              <a:t>checkPoint</a:t>
            </a:r>
            <a:r>
              <a:rPr lang="en-US" dirty="0" smtClean="0"/>
              <a:t> </a:t>
            </a:r>
            <a:r>
              <a:rPr lang="en-US" dirty="0" smtClean="0"/>
              <a:t>list: </a:t>
            </a:r>
            <a:r>
              <a:rPr lang="en-US" dirty="0" smtClean="0"/>
              <a:t>  Security_002</a:t>
            </a:r>
          </a:p>
          <a:p>
            <a:r>
              <a:rPr lang="en-US" dirty="0" smtClean="0"/>
              <a:t>Fix step:</a:t>
            </a:r>
          </a:p>
          <a:p>
            <a:r>
              <a:rPr lang="en-US" dirty="0"/>
              <a:t>	</a:t>
            </a:r>
            <a:r>
              <a:rPr lang="en-US" dirty="0" smtClean="0"/>
              <a:t>1.XXX</a:t>
            </a:r>
          </a:p>
          <a:p>
            <a:r>
              <a:rPr lang="en-US" dirty="0" smtClean="0"/>
              <a:t>	2.XXX</a:t>
            </a:r>
            <a:endParaRPr lang="en-US" dirty="0"/>
          </a:p>
        </p:txBody>
      </p:sp>
      <p:sp>
        <p:nvSpPr>
          <p:cNvPr id="14" name="Flowchart: Alternate Process 13"/>
          <p:cNvSpPr/>
          <p:nvPr/>
        </p:nvSpPr>
        <p:spPr>
          <a:xfrm>
            <a:off x="5022222" y="4131603"/>
            <a:ext cx="1733004" cy="543698"/>
          </a:xfrm>
          <a:prstGeom prst="flowChartAlternateProcess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</a:rPr>
              <a:t>Security_001</a:t>
            </a:r>
            <a:endParaRPr lang="en-US" dirty="0" smtClean="0">
              <a:solidFill>
                <a:srgbClr val="00206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707924" y="3900375"/>
            <a:ext cx="0" cy="774926"/>
          </a:xfrm>
          <a:prstGeom prst="lin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14" idx="1"/>
          </p:cNvCxnSpPr>
          <p:nvPr/>
        </p:nvCxnSpPr>
        <p:spPr>
          <a:xfrm flipH="1">
            <a:off x="4707924" y="4403452"/>
            <a:ext cx="314298" cy="0"/>
          </a:xfrm>
          <a:prstGeom prst="line">
            <a:avLst/>
          </a:prstGeom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Flowchart: Alternate Process 20"/>
          <p:cNvSpPr/>
          <p:nvPr/>
        </p:nvSpPr>
        <p:spPr>
          <a:xfrm>
            <a:off x="3311771" y="6038249"/>
            <a:ext cx="4699041" cy="543698"/>
          </a:xfrm>
          <a:prstGeom prst="flowChartAlternateProcess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err="1" smtClean="0">
                <a:solidFill>
                  <a:srgbClr val="002060"/>
                </a:solidFill>
              </a:rPr>
              <a:t>Get_value_from_configuration</a:t>
            </a:r>
            <a:endParaRPr lang="en-US" dirty="0" smtClean="0">
              <a:solidFill>
                <a:srgbClr val="002060"/>
              </a:solidFill>
            </a:endParaRPr>
          </a:p>
        </p:txBody>
      </p:sp>
      <p:sp>
        <p:nvSpPr>
          <p:cNvPr id="18" name="Curved Left Arrow 17"/>
          <p:cNvSpPr/>
          <p:nvPr/>
        </p:nvSpPr>
        <p:spPr>
          <a:xfrm rot="5400000">
            <a:off x="4704606" y="2664357"/>
            <a:ext cx="635231" cy="581897"/>
          </a:xfrm>
          <a:prstGeom prst="curvedLef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accent4"/>
              </a:solidFill>
            </a:endParaRPr>
          </a:p>
        </p:txBody>
      </p:sp>
      <p:sp>
        <p:nvSpPr>
          <p:cNvPr id="23" name="Curved Left Arrow 22"/>
          <p:cNvSpPr/>
          <p:nvPr/>
        </p:nvSpPr>
        <p:spPr>
          <a:xfrm rot="5400000">
            <a:off x="5052727" y="5210064"/>
            <a:ext cx="635231" cy="581897"/>
          </a:xfrm>
          <a:prstGeom prst="curvedLef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accent4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933170" y="3437567"/>
            <a:ext cx="85940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"Verify nbi3gc mf/proxy-1/proxy-2/proxy-3 security certificate path </a:t>
            </a:r>
            <a:r>
              <a:rPr lang="en-US" dirty="0" err="1"/>
              <a:t>config</a:t>
            </a:r>
            <a:r>
              <a:rPr lang="en-US" dirty="0"/>
              <a:t> is correct"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933170" y="4241975"/>
            <a:ext cx="59138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"Verify nbi3gc security mode is enabled in configuration"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108522" y="4218786"/>
            <a:ext cx="1970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>
                <a:solidFill>
                  <a:srgbClr val="FF0000"/>
                </a:solidFill>
              </a:rPr>
              <a:t>Dependency</a:t>
            </a:r>
            <a:r>
              <a:rPr lang="en-US" dirty="0" smtClean="0"/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01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Q&amp;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41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0.xml><?xml version="1.0" encoding="utf-8"?>
<a:theme xmlns:a="http://schemas.openxmlformats.org/drawingml/2006/main" name="2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1.xml><?xml version="1.0" encoding="utf-8"?>
<a:theme xmlns:a="http://schemas.openxmlformats.org/drawingml/2006/main" name="4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2.xml><?xml version="1.0" encoding="utf-8"?>
<a:theme xmlns:a="http://schemas.openxmlformats.org/drawingml/2006/main" name="4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3.xml><?xml version="1.0" encoding="utf-8"?>
<a:theme xmlns:a="http://schemas.openxmlformats.org/drawingml/2006/main" name="5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4.xml><?xml version="1.0" encoding="utf-8"?>
<a:theme xmlns:a="http://schemas.openxmlformats.org/drawingml/2006/main" name="1_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15.xml><?xml version="1.0" encoding="utf-8"?>
<a:theme xmlns:a="http://schemas.openxmlformats.org/drawingml/2006/main" name="5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6.xml><?xml version="1.0" encoding="utf-8"?>
<a:theme xmlns:a="http://schemas.openxmlformats.org/drawingml/2006/main" name="6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7.xml><?xml version="1.0" encoding="utf-8"?>
<a:theme xmlns:a="http://schemas.openxmlformats.org/drawingml/2006/main" name="2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18.xml><?xml version="1.0" encoding="utf-8"?>
<a:theme xmlns:a="http://schemas.openxmlformats.org/drawingml/2006/main" name="6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19.xml><?xml version="1.0" encoding="utf-8"?>
<a:theme xmlns:a="http://schemas.openxmlformats.org/drawingml/2006/main" name="7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.xml><?xml version="1.0" encoding="utf-8"?>
<a:theme xmlns:a="http://schemas.openxmlformats.org/drawingml/2006/main" name="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0.xml><?xml version="1.0" encoding="utf-8"?>
<a:theme xmlns:a="http://schemas.openxmlformats.org/drawingml/2006/main" name="7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1.xml><?xml version="1.0" encoding="utf-8"?>
<a:theme xmlns:a="http://schemas.openxmlformats.org/drawingml/2006/main" name="8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2.xml><?xml version="1.0" encoding="utf-8"?>
<a:theme xmlns:a="http://schemas.openxmlformats.org/drawingml/2006/main" name="2_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23.xml><?xml version="1.0" encoding="utf-8"?>
<a:theme xmlns:a="http://schemas.openxmlformats.org/drawingml/2006/main" name="8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4.xml><?xml version="1.0" encoding="utf-8"?>
<a:theme xmlns:a="http://schemas.openxmlformats.org/drawingml/2006/main" name="9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4.xml><?xml version="1.0" encoding="utf-8"?>
<a:theme xmlns:a="http://schemas.openxmlformats.org/drawingml/2006/main" name="2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5.xml><?xml version="1.0" encoding="utf-8"?>
<a:theme xmlns:a="http://schemas.openxmlformats.org/drawingml/2006/main" name="1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6.xml><?xml version="1.0" encoding="utf-8"?>
<a:theme xmlns:a="http://schemas.openxmlformats.org/drawingml/2006/main" name="Core VS N8EP1 RCAEDA followup(03.06)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7.xml><?xml version="1.0" encoding="utf-8"?>
<a:theme xmlns:a="http://schemas.openxmlformats.org/drawingml/2006/main" name="1_Nokia PowerPoint Template Arial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8.xml><?xml version="1.0" encoding="utf-8"?>
<a:theme xmlns:a="http://schemas.openxmlformats.org/drawingml/2006/main" name="3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9.xml><?xml version="1.0" encoding="utf-8"?>
<a:theme xmlns:a="http://schemas.openxmlformats.org/drawingml/2006/main" name="1_Theme1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28061</TotalTime>
  <Words>852</Words>
  <Application>Microsoft Office PowerPoint</Application>
  <PresentationFormat>Widescreen</PresentationFormat>
  <Paragraphs>135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40" baseType="lpstr">
      <vt:lpstr>Lucida Grande</vt:lpstr>
      <vt:lpstr>ヒラギノ角ゴ Pro W3</vt:lpstr>
      <vt:lpstr>Arial</vt:lpstr>
      <vt:lpstr>Calibri</vt:lpstr>
      <vt:lpstr>Nokia Pure Headline</vt:lpstr>
      <vt:lpstr>Nokia Pure Headline Light</vt:lpstr>
      <vt:lpstr>Nokia Pure Text</vt:lpstr>
      <vt:lpstr>Nokia Pure Text Light</vt:lpstr>
      <vt:lpstr>Theme1</vt:lpstr>
      <vt:lpstr>Nokia PowerPoint Template Arial v13</vt:lpstr>
      <vt:lpstr>3_Nokia PowerPoint Template Arial v13</vt:lpstr>
      <vt:lpstr>2_Nokia Master Blue Background</vt:lpstr>
      <vt:lpstr>1_Nokia Master Blue Background</vt:lpstr>
      <vt:lpstr>Core VS N8EP1 RCAEDA followup(03.06)</vt:lpstr>
      <vt:lpstr>1_Nokia PowerPoint Template Arial v13</vt:lpstr>
      <vt:lpstr>3_Nokia Master Blue Background</vt:lpstr>
      <vt:lpstr>1_Theme1</vt:lpstr>
      <vt:lpstr>2_Nokia PowerPoint Template Arial v13</vt:lpstr>
      <vt:lpstr>4_Nokia PowerPoint Template Arial v13</vt:lpstr>
      <vt:lpstr>4_Nokia Master Blue Background</vt:lpstr>
      <vt:lpstr>5_Nokia Master Blue Background</vt:lpstr>
      <vt:lpstr>1_Core VS N8EP1 RCAEDA followup(03.06)</vt:lpstr>
      <vt:lpstr>5_Nokia PowerPoint Template Arial v13</vt:lpstr>
      <vt:lpstr>6_Nokia Master Blue Background</vt:lpstr>
      <vt:lpstr>2_Theme1</vt:lpstr>
      <vt:lpstr>6_Nokia PowerPoint Template Arial v13</vt:lpstr>
      <vt:lpstr>7_Nokia PowerPoint Template Arial v13</vt:lpstr>
      <vt:lpstr>7_Nokia Master Blue Background</vt:lpstr>
      <vt:lpstr>8_Nokia Master Blue Background</vt:lpstr>
      <vt:lpstr>2_Core VS N8EP1 RCAEDA followup(03.06)</vt:lpstr>
      <vt:lpstr>8_Nokia PowerPoint Template Arial v13</vt:lpstr>
      <vt:lpstr>9_Nokia Master Blue Background</vt:lpstr>
      <vt:lpstr>think-cell Slide</vt:lpstr>
      <vt:lpstr>Troubleshooting shar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&amp;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huangfu</dc:creator>
  <cp:lastModifiedBy>Gao, Jarvan (Nokia - CN/Chengdu)</cp:lastModifiedBy>
  <cp:revision>444</cp:revision>
  <dcterms:created xsi:type="dcterms:W3CDTF">2016-06-20T05:20:12Z</dcterms:created>
  <dcterms:modified xsi:type="dcterms:W3CDTF">2016-12-26T04:59:02Z</dcterms:modified>
</cp:coreProperties>
</file>